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0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8F-4F1D-BCE2-3B31BF62E3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8F-4F1D-BCE2-3B31BF62E3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8F-4F1D-BCE2-3B31BF62E3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08F-4F1D-BCE2-3B31BF62E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49-4E73-8449-3F0DA1B316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49-4E73-8449-3F0DA1B3161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49-4E73-8449-3F0DA1B316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5F0FBE-4AF6-1967-808B-4F28D52350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DDB99A2-23BC-0120-51A2-092E6B93D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DB99A2-23BC-0120-51A2-092E6B93D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6586DFF4-445F-6155-1EE4-872DEB770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ie / 100% Stacked Column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C3D74D3-CBD4-AE6C-7553-93C6E8FA28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EE30A037-4657-8005-425A-8F9DBC5D99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66FC2729-089D-9938-6F2D-3769AC34DAD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9D640D3A-84A4-B205-F784-9D328E3306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32">
            <a:extLst>
              <a:ext uri="{FF2B5EF4-FFF2-40B4-BE49-F238E27FC236}">
                <a16:creationId xmlns:a16="http://schemas.microsoft.com/office/drawing/2014/main" id="{CC739750-62AC-C184-2AE0-E28D5158D544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Placeholder 6">
            <a:extLst>
              <a:ext uri="{FF2B5EF4-FFF2-40B4-BE49-F238E27FC236}">
                <a16:creationId xmlns:a16="http://schemas.microsoft.com/office/drawing/2014/main" id="{19D5EFC4-F35A-FEBE-B6C9-F6DCA6D87B60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772104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6</TotalTime>
  <Words>24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Pie / 100% 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76</cp:revision>
  <dcterms:created xsi:type="dcterms:W3CDTF">2025-07-09T10:57:17Z</dcterms:created>
  <dcterms:modified xsi:type="dcterms:W3CDTF">2025-10-22T10:11:09Z</dcterms:modified>
  <cp:category/>
</cp:coreProperties>
</file>